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6" r:id="rId1"/>
  </p:sldMasterIdLst>
  <p:notesMasterIdLst>
    <p:notesMasterId r:id="rId11"/>
  </p:notesMasterIdLst>
  <p:sldIdLst>
    <p:sldId id="317" r:id="rId2"/>
    <p:sldId id="339" r:id="rId3"/>
    <p:sldId id="341" r:id="rId4"/>
    <p:sldId id="343" r:id="rId5"/>
    <p:sldId id="346" r:id="rId6"/>
    <p:sldId id="2141413121" r:id="rId7"/>
    <p:sldId id="2141413081" r:id="rId8"/>
    <p:sldId id="319" r:id="rId9"/>
    <p:sldId id="290" r:id="rId10"/>
  </p:sldIdLst>
  <p:sldSz cx="12192000" cy="6858000"/>
  <p:notesSz cx="12192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8CF159C-8C16-0149-8447-C362C11DCAEB}">
          <p14:sldIdLst>
            <p14:sldId id="317"/>
            <p14:sldId id="339"/>
            <p14:sldId id="341"/>
            <p14:sldId id="343"/>
            <p14:sldId id="346"/>
            <p14:sldId id="2141413121"/>
            <p14:sldId id="2141413081"/>
            <p14:sldId id="319"/>
          </p14:sldIdLst>
        </p14:section>
        <p14:section name="Фоны" id="{FA855FA9-468D-A343-B834-D52907DE52F4}">
          <p14:sldIdLst>
            <p14:sldId id="2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432" userDrawn="1">
          <p15:clr>
            <a:srgbClr val="A4A3A4"/>
          </p15:clr>
        </p15:guide>
        <p15:guide id="3" pos="407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BFBFB"/>
    <a:srgbClr val="101217"/>
    <a:srgbClr val="7700FF"/>
    <a:srgbClr val="FF4F12"/>
    <a:srgbClr val="E95125"/>
    <a:srgbClr val="FFBE08"/>
    <a:srgbClr val="57D9BB"/>
    <a:srgbClr val="EA5225"/>
    <a:srgbClr val="563F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1"/>
    <p:restoredTop sz="94716"/>
  </p:normalViewPr>
  <p:slideViewPr>
    <p:cSldViewPr>
      <p:cViewPr>
        <p:scale>
          <a:sx n="70" d="100"/>
          <a:sy n="70" d="100"/>
        </p:scale>
        <p:origin x="2424" y="1344"/>
      </p:cViewPr>
      <p:guideLst>
        <p:guide orient="horz" pos="2880"/>
        <p:guide pos="432"/>
        <p:guide pos="407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BFD703-369C-47DD-B01A-AD05D43BD7B4}" type="datetimeFigureOut">
              <a:rPr lang="ru-RU" smtClean="0"/>
              <a:t>07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7A6057-43D8-4B51-B330-6E9DBEECB14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15650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368171-2135-62E1-B20B-6729B2432C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846BB8BB-2357-5419-BF1F-3D2A7FE81B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ostelecom Basis" panose="020B0503030604040103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460E83F-2773-E072-3C3F-A59B392E489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ostelecom Basis" panose="020B0503030604040103" pitchFamily="34" charset="0"/>
              </a:defRPr>
            </a:lvl1pPr>
          </a:lstStyle>
          <a:p>
            <a:fld id="{08BDCBB4-0AC3-4B34-B999-8DB64302800F}" type="datetimeFigureOut">
              <a:rPr lang="ru-RU" smtClean="0"/>
              <a:pPr/>
              <a:t>07.11.2025</a:t>
            </a:fld>
            <a:endParaRPr lang="ru-RU" dirty="0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5AEA4095-6CA6-2C51-C773-F11465D9387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DB4F1EB5-6298-4B1C-D807-4EA0D1704D6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Предсказание эффективности обучения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1806F9C-568C-91CF-A52B-DA56362A13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ostelecom Basis" panose="020B0503030604040103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231BE42-EE93-80B8-6569-BB4B5D60B2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ostelecom Basis" panose="020B0503030604040103" pitchFamily="34" charset="0"/>
              </a:defRPr>
            </a:lvl1pPr>
          </a:lstStyle>
          <a:p>
            <a:fld id="{D062F112-4673-4A18-BA99-460A4447AB42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2966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25692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05436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52217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7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02903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7/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9261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08644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0209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6971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01227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7907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46839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5360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3140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7/2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6645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8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7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13" Type="http://schemas.openxmlformats.org/officeDocument/2006/relationships/image" Target="../media/image24.jpg"/><Relationship Id="rId18" Type="http://schemas.openxmlformats.org/officeDocument/2006/relationships/image" Target="../media/image28.jpg"/><Relationship Id="rId26" Type="http://schemas.openxmlformats.org/officeDocument/2006/relationships/image" Target="../media/image32.jpg"/><Relationship Id="rId3" Type="http://schemas.openxmlformats.org/officeDocument/2006/relationships/image" Target="../media/image2.jpg"/><Relationship Id="rId21" Type="http://schemas.openxmlformats.org/officeDocument/2006/relationships/image" Target="../media/image12.jpg"/><Relationship Id="rId7" Type="http://schemas.openxmlformats.org/officeDocument/2006/relationships/image" Target="../media/image10.jpg"/><Relationship Id="rId12" Type="http://schemas.openxmlformats.org/officeDocument/2006/relationships/image" Target="../media/image23.jpg"/><Relationship Id="rId17" Type="http://schemas.openxmlformats.org/officeDocument/2006/relationships/image" Target="../media/image27.jpg"/><Relationship Id="rId25" Type="http://schemas.openxmlformats.org/officeDocument/2006/relationships/image" Target="../media/image31.jpg"/><Relationship Id="rId2" Type="http://schemas.openxmlformats.org/officeDocument/2006/relationships/image" Target="../media/image16.jpg"/><Relationship Id="rId16" Type="http://schemas.openxmlformats.org/officeDocument/2006/relationships/image" Target="../media/image8.jpg"/><Relationship Id="rId20" Type="http://schemas.openxmlformats.org/officeDocument/2006/relationships/image" Target="../media/image14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jpg"/><Relationship Id="rId11" Type="http://schemas.openxmlformats.org/officeDocument/2006/relationships/image" Target="../media/image22.jpg"/><Relationship Id="rId24" Type="http://schemas.openxmlformats.org/officeDocument/2006/relationships/image" Target="../media/image30.jpg"/><Relationship Id="rId5" Type="http://schemas.openxmlformats.org/officeDocument/2006/relationships/image" Target="../media/image17.jpg"/><Relationship Id="rId15" Type="http://schemas.openxmlformats.org/officeDocument/2006/relationships/image" Target="../media/image26.jpg"/><Relationship Id="rId23" Type="http://schemas.openxmlformats.org/officeDocument/2006/relationships/image" Target="../media/image7.jpg"/><Relationship Id="rId10" Type="http://schemas.openxmlformats.org/officeDocument/2006/relationships/image" Target="../media/image21.jpg"/><Relationship Id="rId19" Type="http://schemas.openxmlformats.org/officeDocument/2006/relationships/image" Target="../media/image13.jpg"/><Relationship Id="rId4" Type="http://schemas.openxmlformats.org/officeDocument/2006/relationships/image" Target="../media/image9.jpg"/><Relationship Id="rId9" Type="http://schemas.openxmlformats.org/officeDocument/2006/relationships/image" Target="../media/image20.jpg"/><Relationship Id="rId14" Type="http://schemas.openxmlformats.org/officeDocument/2006/relationships/image" Target="../media/image25.jpg"/><Relationship Id="rId22" Type="http://schemas.openxmlformats.org/officeDocument/2006/relationships/image" Target="../media/image2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C0B222-EC66-1AD4-7017-B9B379AC94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A2E773D6-0DAF-C521-A38D-6962827F54D9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08FAE057-7729-A822-DAE0-2EA4FCD8F3E1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-9832" y="0"/>
            <a:ext cx="12201832" cy="6858000"/>
          </a:xfrm>
          <a:prstGeom prst="rect">
            <a:avLst/>
          </a:prstGeom>
          <a:ln>
            <a:noFill/>
          </a:ln>
        </p:spPr>
      </p:pic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5E3083A3-98CE-B562-ACFC-23005A1BBBF5}"/>
              </a:ext>
            </a:extLst>
          </p:cNvPr>
          <p:cNvGrpSpPr/>
          <p:nvPr/>
        </p:nvGrpSpPr>
        <p:grpSpPr>
          <a:xfrm>
            <a:off x="676275" y="425115"/>
            <a:ext cx="381000" cy="724504"/>
            <a:chOff x="2207643" y="1388348"/>
            <a:chExt cx="2460253" cy="4614322"/>
          </a:xfrm>
          <a:solidFill>
            <a:schemeClr val="bg2"/>
          </a:solidFill>
        </p:grpSpPr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E1FB2DE5-5B02-A796-5A36-501A84A23C19}"/>
                </a:ext>
              </a:extLst>
            </p:cNvPr>
            <p:cNvSpPr/>
            <p:nvPr/>
          </p:nvSpPr>
          <p:spPr>
            <a:xfrm>
              <a:off x="2207643" y="1388348"/>
              <a:ext cx="2460253" cy="4098052"/>
            </a:xfrm>
            <a:custGeom>
              <a:avLst/>
              <a:gdLst>
                <a:gd name="connsiteX0" fmla="*/ 1020447 w 2460253"/>
                <a:gd name="connsiteY0" fmla="*/ 0 h 4098052"/>
                <a:gd name="connsiteX1" fmla="*/ 2460253 w 2460253"/>
                <a:gd name="connsiteY1" fmla="*/ 1430541 h 4098052"/>
                <a:gd name="connsiteX2" fmla="*/ 1295746 w 2460253"/>
                <a:gd name="connsiteY2" fmla="*/ 2602590 h 4098052"/>
                <a:gd name="connsiteX3" fmla="*/ 1293621 w 2460253"/>
                <a:gd name="connsiteY3" fmla="*/ 2600446 h 4098052"/>
                <a:gd name="connsiteX4" fmla="*/ 204497 w 2460253"/>
                <a:gd name="connsiteY4" fmla="*/ 3712386 h 4098052"/>
                <a:gd name="connsiteX5" fmla="*/ 204495 w 2460253"/>
                <a:gd name="connsiteY5" fmla="*/ 3712388 h 4098052"/>
                <a:gd name="connsiteX6" fmla="*/ 143194 w 2460253"/>
                <a:gd name="connsiteY6" fmla="*/ 3774973 h 4098052"/>
                <a:gd name="connsiteX7" fmla="*/ 105990 w 2460253"/>
                <a:gd name="connsiteY7" fmla="*/ 3832183 h 4098052"/>
                <a:gd name="connsiteX8" fmla="*/ 150267 w 2460253"/>
                <a:gd name="connsiteY8" fmla="*/ 4040292 h 4098052"/>
                <a:gd name="connsiteX9" fmla="*/ 286900 w 2460253"/>
                <a:gd name="connsiteY9" fmla="*/ 4095358 h 4098052"/>
                <a:gd name="connsiteX10" fmla="*/ 294452 w 2460253"/>
                <a:gd name="connsiteY10" fmla="*/ 4093813 h 4098052"/>
                <a:gd name="connsiteX11" fmla="*/ 292667 w 2460253"/>
                <a:gd name="connsiteY11" fmla="*/ 4098052 h 4098052"/>
                <a:gd name="connsiteX12" fmla="*/ 267331 w 2460253"/>
                <a:gd name="connsiteY12" fmla="*/ 4098052 h 4098052"/>
                <a:gd name="connsiteX13" fmla="*/ 0 w 2460253"/>
                <a:gd name="connsiteY13" fmla="*/ 3830721 h 4098052"/>
                <a:gd name="connsiteX14" fmla="*/ 0 w 2460253"/>
                <a:gd name="connsiteY14" fmla="*/ 2291252 h 4098052"/>
                <a:gd name="connsiteX15" fmla="*/ 0 w 2460253"/>
                <a:gd name="connsiteY15" fmla="*/ 2117483 h 4098052"/>
                <a:gd name="connsiteX16" fmla="*/ 0 w 2460253"/>
                <a:gd name="connsiteY16" fmla="*/ 1265143 h 4098052"/>
                <a:gd name="connsiteX17" fmla="*/ 61966 w 2460253"/>
                <a:gd name="connsiteY17" fmla="*/ 992712 h 4098052"/>
                <a:gd name="connsiteX18" fmla="*/ 100182 w 2460253"/>
                <a:gd name="connsiteY18" fmla="*/ 926225 h 409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60253" h="4098052">
                  <a:moveTo>
                    <a:pt x="1020447" y="0"/>
                  </a:moveTo>
                  <a:lnTo>
                    <a:pt x="2460253" y="1430541"/>
                  </a:lnTo>
                  <a:lnTo>
                    <a:pt x="1295746" y="2602590"/>
                  </a:lnTo>
                  <a:lnTo>
                    <a:pt x="1293621" y="2600446"/>
                  </a:lnTo>
                  <a:lnTo>
                    <a:pt x="204497" y="3712386"/>
                  </a:lnTo>
                  <a:lnTo>
                    <a:pt x="204495" y="3712388"/>
                  </a:lnTo>
                  <a:lnTo>
                    <a:pt x="143194" y="3774973"/>
                  </a:lnTo>
                  <a:lnTo>
                    <a:pt x="105990" y="3832183"/>
                  </a:lnTo>
                  <a:cubicBezTo>
                    <a:pt x="78471" y="3901958"/>
                    <a:pt x="93356" y="3984462"/>
                    <a:pt x="150267" y="4040292"/>
                  </a:cubicBezTo>
                  <a:cubicBezTo>
                    <a:pt x="188209" y="4077512"/>
                    <a:pt x="237644" y="4095830"/>
                    <a:pt x="286900" y="4095358"/>
                  </a:cubicBezTo>
                  <a:lnTo>
                    <a:pt x="294452" y="4093813"/>
                  </a:lnTo>
                  <a:lnTo>
                    <a:pt x="292667" y="4098052"/>
                  </a:lnTo>
                  <a:lnTo>
                    <a:pt x="267331" y="4098052"/>
                  </a:lnTo>
                  <a:cubicBezTo>
                    <a:pt x="119688" y="4098052"/>
                    <a:pt x="0" y="3978364"/>
                    <a:pt x="0" y="3830721"/>
                  </a:cubicBezTo>
                  <a:lnTo>
                    <a:pt x="0" y="2291252"/>
                  </a:lnTo>
                  <a:lnTo>
                    <a:pt x="0" y="2117483"/>
                  </a:lnTo>
                  <a:lnTo>
                    <a:pt x="0" y="1265143"/>
                  </a:lnTo>
                  <a:cubicBezTo>
                    <a:pt x="0" y="1167536"/>
                    <a:pt x="22254" y="1075127"/>
                    <a:pt x="61966" y="992712"/>
                  </a:cubicBezTo>
                  <a:lnTo>
                    <a:pt x="100182" y="9262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Rostelecom Basis" panose="020B0503030604040103" pitchFamily="34" charset="0"/>
              </a:endParaRPr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8158F725-2687-0883-3596-10593CDA40A6}"/>
                </a:ext>
              </a:extLst>
            </p:cNvPr>
            <p:cNvSpPr/>
            <p:nvPr/>
          </p:nvSpPr>
          <p:spPr>
            <a:xfrm rot="18864366">
              <a:off x="2571809" y="4620676"/>
              <a:ext cx="1240123" cy="1523865"/>
            </a:xfrm>
            <a:custGeom>
              <a:avLst/>
              <a:gdLst>
                <a:gd name="connsiteX0" fmla="*/ 1240123 w 1240123"/>
                <a:gd name="connsiteY0" fmla="*/ 0 h 1523865"/>
                <a:gd name="connsiteX1" fmla="*/ 1236300 w 1240123"/>
                <a:gd name="connsiteY1" fmla="*/ 384138 h 1523865"/>
                <a:gd name="connsiteX2" fmla="*/ 1236298 w 1240123"/>
                <a:gd name="connsiteY2" fmla="*/ 384138 h 1523865"/>
                <a:gd name="connsiteX3" fmla="*/ 1224953 w 1240123"/>
                <a:gd name="connsiteY3" fmla="*/ 1523865 h 1523865"/>
                <a:gd name="connsiteX4" fmla="*/ 58379 w 1240123"/>
                <a:gd name="connsiteY4" fmla="*/ 332854 h 1523865"/>
                <a:gd name="connsiteX5" fmla="*/ 62657 w 1240123"/>
                <a:gd name="connsiteY5" fmla="*/ 331163 h 1523865"/>
                <a:gd name="connsiteX6" fmla="*/ 56269 w 1240123"/>
                <a:gd name="connsiteY6" fmla="*/ 326849 h 1523865"/>
                <a:gd name="connsiteX7" fmla="*/ 1 w 1240123"/>
                <a:gd name="connsiteY7" fmla="*/ 190707 h 1523865"/>
                <a:gd name="connsiteX8" fmla="*/ 117691 w 1240123"/>
                <a:gd name="connsiteY8" fmla="*/ 13453 h 1523865"/>
                <a:gd name="connsiteX9" fmla="*/ 184595 w 1240123"/>
                <a:gd name="connsiteY9" fmla="*/ 0 h 152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0123" h="1523865">
                  <a:moveTo>
                    <a:pt x="1240123" y="0"/>
                  </a:moveTo>
                  <a:lnTo>
                    <a:pt x="1236300" y="384138"/>
                  </a:lnTo>
                  <a:lnTo>
                    <a:pt x="1236298" y="384138"/>
                  </a:lnTo>
                  <a:lnTo>
                    <a:pt x="1224953" y="1523865"/>
                  </a:lnTo>
                  <a:lnTo>
                    <a:pt x="58379" y="332854"/>
                  </a:lnTo>
                  <a:lnTo>
                    <a:pt x="62657" y="331163"/>
                  </a:lnTo>
                  <a:lnTo>
                    <a:pt x="56269" y="326849"/>
                  </a:lnTo>
                  <a:cubicBezTo>
                    <a:pt x="21466" y="291991"/>
                    <a:pt x="-40" y="243857"/>
                    <a:pt x="1" y="190707"/>
                  </a:cubicBezTo>
                  <a:cubicBezTo>
                    <a:pt x="63" y="110983"/>
                    <a:pt x="48588" y="42618"/>
                    <a:pt x="117691" y="13453"/>
                  </a:cubicBezTo>
                  <a:lnTo>
                    <a:pt x="184595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Rostelecom Basis" panose="020B0503030604040103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CA24CC20-6669-22A1-FF47-2BB62AF0922C}"/>
              </a:ext>
            </a:extLst>
          </p:cNvPr>
          <p:cNvSpPr txBox="1"/>
          <p:nvPr/>
        </p:nvSpPr>
        <p:spPr>
          <a:xfrm>
            <a:off x="951387" y="685800"/>
            <a:ext cx="20174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Rostelecom Basis Medium" panose="020B0503030604040103" pitchFamily="34" charset="0"/>
              </a:rPr>
              <a:t>Ростелеком</a:t>
            </a:r>
            <a:endParaRPr lang="en-US" sz="2000" dirty="0">
              <a:solidFill>
                <a:schemeClr val="bg1"/>
              </a:solidFill>
              <a:latin typeface="Rostelecom Basis Medium" panose="020B05030306040401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663EE4-0537-5066-A103-2A16F4E296C9}"/>
              </a:ext>
            </a:extLst>
          </p:cNvPr>
          <p:cNvSpPr txBox="1"/>
          <p:nvPr/>
        </p:nvSpPr>
        <p:spPr>
          <a:xfrm>
            <a:off x="609600" y="3787170"/>
            <a:ext cx="8915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dirty="0">
                <a:solidFill>
                  <a:schemeClr val="bg1"/>
                </a:solidFill>
                <a:latin typeface="Rostelecom Basis Medium" panose="020B0503030604040103" pitchFamily="34" charset="0"/>
              </a:rPr>
              <a:t>Заголовок</a:t>
            </a:r>
            <a:endParaRPr lang="en-US" sz="9600" dirty="0">
              <a:solidFill>
                <a:schemeClr val="bg1"/>
              </a:solidFill>
              <a:latin typeface="Rostelecom Basis Medium" panose="020B05030306040401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FD6A20-1666-FA7D-0B0F-1F2244B0A7DA}"/>
              </a:ext>
            </a:extLst>
          </p:cNvPr>
          <p:cNvSpPr txBox="1"/>
          <p:nvPr/>
        </p:nvSpPr>
        <p:spPr>
          <a:xfrm>
            <a:off x="685800" y="5105400"/>
            <a:ext cx="502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  <a:latin typeface="Rostelecom Basis Medium" panose="020B0503030604040103" pitchFamily="34" charset="0"/>
              </a:rPr>
              <a:t>Подзаголовок</a:t>
            </a:r>
            <a:endParaRPr lang="ru-RU" sz="4400" dirty="0">
              <a:solidFill>
                <a:schemeClr val="tx1">
                  <a:lumMod val="20000"/>
                  <a:lumOff val="80000"/>
                </a:schemeClr>
              </a:solidFill>
              <a:latin typeface="Rostelecom Basis Medium" panose="020B0503030604040103" pitchFamily="34" charset="0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B3162097-F653-642C-F7DD-320328227A1E}"/>
              </a:ext>
            </a:extLst>
          </p:cNvPr>
          <p:cNvSpPr/>
          <p:nvPr/>
        </p:nvSpPr>
        <p:spPr>
          <a:xfrm>
            <a:off x="-609600" y="4046536"/>
            <a:ext cx="360000" cy="360000"/>
          </a:xfrm>
          <a:prstGeom prst="ellipse">
            <a:avLst/>
          </a:prstGeom>
          <a:solidFill>
            <a:srgbClr val="9200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D186A4E4-E417-0263-2F46-36C7C4138998}"/>
              </a:ext>
            </a:extLst>
          </p:cNvPr>
          <p:cNvSpPr/>
          <p:nvPr/>
        </p:nvSpPr>
        <p:spPr>
          <a:xfrm>
            <a:off x="-609600" y="4505720"/>
            <a:ext cx="360000" cy="360000"/>
          </a:xfrm>
          <a:prstGeom prst="ellipse">
            <a:avLst/>
          </a:prstGeom>
          <a:solidFill>
            <a:srgbClr val="0C79C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411E5622-4B56-3061-25C5-7F706B7B3CAC}"/>
              </a:ext>
            </a:extLst>
          </p:cNvPr>
          <p:cNvSpPr/>
          <p:nvPr/>
        </p:nvSpPr>
        <p:spPr>
          <a:xfrm>
            <a:off x="-990600" y="4964905"/>
            <a:ext cx="360000" cy="360000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4B84E1D8-E1B1-51B8-810E-514511015201}"/>
              </a:ext>
            </a:extLst>
          </p:cNvPr>
          <p:cNvSpPr/>
          <p:nvPr/>
        </p:nvSpPr>
        <p:spPr>
          <a:xfrm>
            <a:off x="-609600" y="4964905"/>
            <a:ext cx="360000" cy="36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8CDBFB91-0555-2E97-4627-26CDB03363C5}"/>
              </a:ext>
            </a:extLst>
          </p:cNvPr>
          <p:cNvSpPr/>
          <p:nvPr/>
        </p:nvSpPr>
        <p:spPr>
          <a:xfrm>
            <a:off x="-609600" y="1291432"/>
            <a:ext cx="360000" cy="360000"/>
          </a:xfrm>
          <a:prstGeom prst="ellipse">
            <a:avLst/>
          </a:prstGeom>
          <a:solidFill>
            <a:srgbClr val="7700FF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1DB30D6A-3F52-199B-0F29-F292F168AA9F}"/>
              </a:ext>
            </a:extLst>
          </p:cNvPr>
          <p:cNvSpPr/>
          <p:nvPr/>
        </p:nvSpPr>
        <p:spPr>
          <a:xfrm>
            <a:off x="-990600" y="1291432"/>
            <a:ext cx="360000" cy="360000"/>
          </a:xfrm>
          <a:prstGeom prst="ellipse">
            <a:avLst/>
          </a:prstGeom>
          <a:solidFill>
            <a:srgbClr val="FF4F12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F570DB3-91F3-B949-D3CF-6E1CF87A4AFF}"/>
              </a:ext>
            </a:extLst>
          </p:cNvPr>
          <p:cNvSpPr/>
          <p:nvPr/>
        </p:nvSpPr>
        <p:spPr>
          <a:xfrm>
            <a:off x="-609600" y="1750616"/>
            <a:ext cx="360000" cy="360000"/>
          </a:xfrm>
          <a:prstGeom prst="ellipse">
            <a:avLst/>
          </a:prstGeom>
          <a:solidFill>
            <a:srgbClr val="BC104B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27226816-6A58-2681-29BA-3C968798960E}"/>
              </a:ext>
            </a:extLst>
          </p:cNvPr>
          <p:cNvSpPr/>
          <p:nvPr/>
        </p:nvSpPr>
        <p:spPr>
          <a:xfrm>
            <a:off x="-990600" y="1750616"/>
            <a:ext cx="360000" cy="360000"/>
          </a:xfrm>
          <a:prstGeom prst="ellipse">
            <a:avLst/>
          </a:prstGeom>
          <a:solidFill>
            <a:srgbClr val="273A64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7E144A39-0730-529F-E1D5-D45F48B60BBF}"/>
              </a:ext>
            </a:extLst>
          </p:cNvPr>
          <p:cNvSpPr/>
          <p:nvPr/>
        </p:nvSpPr>
        <p:spPr>
          <a:xfrm>
            <a:off x="-990600" y="3587352"/>
            <a:ext cx="360000" cy="360000"/>
          </a:xfrm>
          <a:prstGeom prst="ellipse">
            <a:avLst/>
          </a:prstGeom>
          <a:solidFill>
            <a:srgbClr val="FFBE08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12CE5E45-B0FB-A9F3-4B2C-1D80B0005074}"/>
              </a:ext>
            </a:extLst>
          </p:cNvPr>
          <p:cNvSpPr/>
          <p:nvPr/>
        </p:nvSpPr>
        <p:spPr>
          <a:xfrm>
            <a:off x="-609600" y="2209800"/>
            <a:ext cx="360000" cy="360000"/>
          </a:xfrm>
          <a:prstGeom prst="ellipse">
            <a:avLst/>
          </a:prstGeom>
          <a:solidFill>
            <a:srgbClr val="65B8DF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92F067AD-FE45-D9D3-F0E3-4C9C3F06D2D9}"/>
              </a:ext>
            </a:extLst>
          </p:cNvPr>
          <p:cNvSpPr/>
          <p:nvPr/>
        </p:nvSpPr>
        <p:spPr>
          <a:xfrm>
            <a:off x="-990600" y="2209800"/>
            <a:ext cx="360000" cy="360000"/>
          </a:xfrm>
          <a:prstGeom prst="ellipse">
            <a:avLst/>
          </a:prstGeom>
          <a:solidFill>
            <a:srgbClr val="FFBFC3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/>
          </a:p>
        </p:txBody>
      </p:sp>
      <p:sp>
        <p:nvSpPr>
          <p:cNvPr id="23" name="Rectangle 6">
            <a:extLst>
              <a:ext uri="{FF2B5EF4-FFF2-40B4-BE49-F238E27FC236}">
                <a16:creationId xmlns:a16="http://schemas.microsoft.com/office/drawing/2014/main" id="{74CFE380-62C3-48D3-439D-31D831738F88}"/>
              </a:ext>
            </a:extLst>
          </p:cNvPr>
          <p:cNvSpPr/>
          <p:nvPr/>
        </p:nvSpPr>
        <p:spPr>
          <a:xfrm>
            <a:off x="-990600" y="4046536"/>
            <a:ext cx="360000" cy="360000"/>
          </a:xfrm>
          <a:prstGeom prst="ellipse">
            <a:avLst/>
          </a:prstGeom>
          <a:solidFill>
            <a:srgbClr val="57D9B7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CEA92CFE-90F3-0AE1-8912-24939AB831AE}"/>
              </a:ext>
            </a:extLst>
          </p:cNvPr>
          <p:cNvSpPr/>
          <p:nvPr/>
        </p:nvSpPr>
        <p:spPr>
          <a:xfrm>
            <a:off x="-609600" y="2668984"/>
            <a:ext cx="360000" cy="360000"/>
          </a:xfrm>
          <a:prstGeom prst="ellipse">
            <a:avLst/>
          </a:prstGeom>
          <a:solidFill>
            <a:srgbClr val="101828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6" name="Rectangle 7">
            <a:extLst>
              <a:ext uri="{FF2B5EF4-FFF2-40B4-BE49-F238E27FC236}">
                <a16:creationId xmlns:a16="http://schemas.microsoft.com/office/drawing/2014/main" id="{20AAFEBE-39D3-2FE5-977D-F064B32CE70A}"/>
              </a:ext>
            </a:extLst>
          </p:cNvPr>
          <p:cNvSpPr/>
          <p:nvPr/>
        </p:nvSpPr>
        <p:spPr>
          <a:xfrm>
            <a:off x="-990600" y="2668984"/>
            <a:ext cx="360000" cy="360000"/>
          </a:xfrm>
          <a:prstGeom prst="ellipse">
            <a:avLst/>
          </a:prstGeom>
          <a:solidFill>
            <a:srgbClr val="97989A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7" name="Rectangle 6">
            <a:extLst>
              <a:ext uri="{FF2B5EF4-FFF2-40B4-BE49-F238E27FC236}">
                <a16:creationId xmlns:a16="http://schemas.microsoft.com/office/drawing/2014/main" id="{9B4309DF-ACD4-0D1C-94DB-5BA38B89AC9A}"/>
              </a:ext>
            </a:extLst>
          </p:cNvPr>
          <p:cNvSpPr/>
          <p:nvPr/>
        </p:nvSpPr>
        <p:spPr>
          <a:xfrm>
            <a:off x="-990600" y="4505720"/>
            <a:ext cx="360000" cy="360000"/>
          </a:xfrm>
          <a:prstGeom prst="ellipse">
            <a:avLst/>
          </a:prstGeom>
          <a:solidFill>
            <a:srgbClr val="E3E9EC"/>
          </a:solidFill>
          <a:ln w="3175" cap="flat" cmpd="sng" algn="ctr">
            <a:solidFill>
              <a:srgbClr val="75939C"/>
            </a:solidFill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 6">
            <a:extLst>
              <a:ext uri="{FF2B5EF4-FFF2-40B4-BE49-F238E27FC236}">
                <a16:creationId xmlns:a16="http://schemas.microsoft.com/office/drawing/2014/main" id="{59A5DA29-C64F-A593-67C7-37713DF54102}"/>
              </a:ext>
            </a:extLst>
          </p:cNvPr>
          <p:cNvSpPr/>
          <p:nvPr/>
        </p:nvSpPr>
        <p:spPr>
          <a:xfrm>
            <a:off x="-609600" y="3128168"/>
            <a:ext cx="360000" cy="360000"/>
          </a:xfrm>
          <a:prstGeom prst="ellipse">
            <a:avLst/>
          </a:prstGeom>
          <a:solidFill>
            <a:srgbClr val="7B939B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9" name="Rectangle 6">
            <a:extLst>
              <a:ext uri="{FF2B5EF4-FFF2-40B4-BE49-F238E27FC236}">
                <a16:creationId xmlns:a16="http://schemas.microsoft.com/office/drawing/2014/main" id="{DDCF2F66-02DC-8BF0-7626-6D3B3162E16E}"/>
              </a:ext>
            </a:extLst>
          </p:cNvPr>
          <p:cNvSpPr/>
          <p:nvPr/>
        </p:nvSpPr>
        <p:spPr>
          <a:xfrm>
            <a:off x="-990600" y="3128168"/>
            <a:ext cx="360000" cy="360000"/>
          </a:xfrm>
          <a:prstGeom prst="ellipse">
            <a:avLst/>
          </a:prstGeom>
          <a:solidFill>
            <a:srgbClr val="313A49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30" name="Rectangle 6">
            <a:extLst>
              <a:ext uri="{FF2B5EF4-FFF2-40B4-BE49-F238E27FC236}">
                <a16:creationId xmlns:a16="http://schemas.microsoft.com/office/drawing/2014/main" id="{96B13416-81C4-00EC-B9F7-1C3BB0A4CB03}"/>
              </a:ext>
            </a:extLst>
          </p:cNvPr>
          <p:cNvSpPr/>
          <p:nvPr/>
        </p:nvSpPr>
        <p:spPr>
          <a:xfrm>
            <a:off x="-609600" y="3587352"/>
            <a:ext cx="360000" cy="360000"/>
          </a:xfrm>
          <a:prstGeom prst="ellipse">
            <a:avLst/>
          </a:prstGeom>
          <a:solidFill>
            <a:srgbClr val="431625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chemeClr val="bg1"/>
              </a:solidFill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D9A3056-7974-4B2D-D9A5-859F1191D9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9400" y="429126"/>
            <a:ext cx="2298700" cy="77470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B4876192-C2FD-C073-FAE9-29C891DD0C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3000" y="457200"/>
            <a:ext cx="2298700" cy="7747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5ACDBCD9-8EA7-EAA1-E254-87777D2A0C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39" b="7401"/>
          <a:stretch/>
        </p:blipFill>
        <p:spPr>
          <a:xfrm>
            <a:off x="6804992" y="681383"/>
            <a:ext cx="5387008" cy="617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9701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00A435C-84AD-A769-EEB0-8F89A80D979B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74050D3-FACC-465F-9ED6-47832F270584}"/>
              </a:ext>
            </a:extLst>
          </p:cNvPr>
          <p:cNvSpPr txBox="1"/>
          <p:nvPr/>
        </p:nvSpPr>
        <p:spPr>
          <a:xfrm>
            <a:off x="1066800" y="3276600"/>
            <a:ext cx="89154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dirty="0"/>
              <a:t>Текст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dirty="0">
                <a:solidFill>
                  <a:schemeClr val="tx1">
                    <a:lumMod val="20000"/>
                    <a:lumOff val="80000"/>
                  </a:schemeClr>
                </a:solidFill>
              </a:rPr>
              <a:t>Текст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dirty="0">
                <a:solidFill>
                  <a:schemeClr val="tx1">
                    <a:lumMod val="20000"/>
                    <a:lumOff val="80000"/>
                  </a:schemeClr>
                </a:solidFill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1027819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EC61FE6F-3A2C-2F80-BD56-4DF70164960C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1" y="-32659"/>
            <a:ext cx="12192000" cy="6890657"/>
          </a:xfrm>
          <a:prstGeom prst="rect">
            <a:avLst/>
          </a:prstGeom>
          <a:ln>
            <a:noFill/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430AA66D-40F8-A82D-047B-D2A09A54355E}"/>
              </a:ext>
            </a:extLst>
          </p:cNvPr>
          <p:cNvSpPr txBox="1">
            <a:spLocks/>
          </p:cNvSpPr>
          <p:nvPr/>
        </p:nvSpPr>
        <p:spPr>
          <a:xfrm>
            <a:off x="6400800" y="2133600"/>
            <a:ext cx="9220200" cy="87056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  <a:latin typeface="Rostelecom Basis" panose="020B0503030604040103" pitchFamily="34" charset="0"/>
              </a:rPr>
              <a:t>Подзаголовок</a:t>
            </a:r>
            <a:endParaRPr lang="en-RU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9F6E594-8E11-F450-F4A2-5F3C935B4EE8}"/>
              </a:ext>
            </a:extLst>
          </p:cNvPr>
          <p:cNvSpPr txBox="1">
            <a:spLocks noChangeAspect="1"/>
          </p:cNvSpPr>
          <p:nvPr/>
        </p:nvSpPr>
        <p:spPr>
          <a:xfrm>
            <a:off x="6477000" y="2895600"/>
            <a:ext cx="4495800" cy="1500000"/>
          </a:xfrm>
          <a:prstGeom prst="roundRect">
            <a:avLst>
              <a:gd name="adj" fmla="val 13056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dirty="0"/>
              <a:t>Текст///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7DADBCBD-0CF2-83A1-60FE-135B65F4F8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1369" y="-13639800"/>
            <a:ext cx="6400631" cy="3600000"/>
          </a:xfrm>
          <a:prstGeom prst="rect">
            <a:avLst/>
          </a:prstGeom>
          <a:ln>
            <a:noFill/>
          </a:ln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CAA14B8-85D4-42ED-CC96-B8D520D1F5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44600" y="-13716000"/>
            <a:ext cx="6400631" cy="3600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7345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D2CEE01-A2F1-3EB5-060F-37FDACC0C60E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430AA66D-40F8-A82D-047B-D2A09A54355E}"/>
              </a:ext>
            </a:extLst>
          </p:cNvPr>
          <p:cNvSpPr txBox="1">
            <a:spLocks/>
          </p:cNvSpPr>
          <p:nvPr/>
        </p:nvSpPr>
        <p:spPr>
          <a:xfrm>
            <a:off x="457200" y="2133600"/>
            <a:ext cx="9220200" cy="87056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  <a:latin typeface="Rostelecom Basis" panose="020B0503030604040103" pitchFamily="34" charset="0"/>
              </a:rPr>
              <a:t>Подзаголовок</a:t>
            </a:r>
            <a:endParaRPr lang="en-RU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9F6E594-8E11-F450-F4A2-5F3C935B4EE8}"/>
              </a:ext>
            </a:extLst>
          </p:cNvPr>
          <p:cNvSpPr txBox="1">
            <a:spLocks noChangeAspect="1"/>
          </p:cNvSpPr>
          <p:nvPr/>
        </p:nvSpPr>
        <p:spPr>
          <a:xfrm>
            <a:off x="533400" y="2895600"/>
            <a:ext cx="4495800" cy="1500000"/>
          </a:xfrm>
          <a:prstGeom prst="roundRect">
            <a:avLst>
              <a:gd name="adj" fmla="val 13056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dirty="0"/>
              <a:t>Текст///</a:t>
            </a:r>
          </a:p>
        </p:txBody>
      </p:sp>
    </p:spTree>
    <p:extLst>
      <p:ext uri="{BB962C8B-B14F-4D97-AF65-F5344CB8AC3E}">
        <p14:creationId xmlns:p14="http://schemas.microsoft.com/office/powerpoint/2010/main" val="30823754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C0B222-EC66-1AD4-7017-B9B379AC94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E53A5AAE-75D6-B716-58C4-557D184DA22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66313"/>
          </a:xfrm>
          <a:prstGeom prst="rect">
            <a:avLst/>
          </a:prstGeom>
          <a:ln>
            <a:noFill/>
          </a:ln>
        </p:spPr>
      </p:pic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97E65951-253E-89E7-2F1B-617AB170A168}"/>
              </a:ext>
            </a:extLst>
          </p:cNvPr>
          <p:cNvSpPr/>
          <p:nvPr/>
        </p:nvSpPr>
        <p:spPr>
          <a:xfrm>
            <a:off x="6248400" y="1828799"/>
            <a:ext cx="3011864" cy="1791093"/>
          </a:xfrm>
          <a:prstGeom prst="roundRect">
            <a:avLst>
              <a:gd name="adj" fmla="val 8628"/>
            </a:avLst>
          </a:prstGeom>
          <a:solidFill>
            <a:schemeClr val="tx2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latin typeface="Rostelecom Basis" panose="020B0503030604040103" pitchFamily="34" charset="0"/>
              </a:rPr>
              <a:t>Текст///</a:t>
            </a:r>
            <a:endParaRPr lang="ru-RU" dirty="0">
              <a:solidFill>
                <a:schemeClr val="tx1">
                  <a:lumMod val="20000"/>
                  <a:lumOff val="80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0D2F37B5-1BC6-C2AC-2260-BB042FF01FD1}"/>
              </a:ext>
            </a:extLst>
          </p:cNvPr>
          <p:cNvSpPr/>
          <p:nvPr/>
        </p:nvSpPr>
        <p:spPr>
          <a:xfrm>
            <a:off x="2931736" y="3918857"/>
            <a:ext cx="3011864" cy="1791093"/>
          </a:xfrm>
          <a:prstGeom prst="roundRect">
            <a:avLst>
              <a:gd name="adj" fmla="val 8628"/>
            </a:avLst>
          </a:prstGeom>
          <a:solidFill>
            <a:schemeClr val="accent1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latin typeface="Rostelecom Basis" panose="020B0503030604040103" pitchFamily="34" charset="0"/>
              </a:rPr>
              <a:t>Текст///</a:t>
            </a:r>
            <a:endParaRPr lang="ru-RU" dirty="0">
              <a:solidFill>
                <a:schemeClr val="tx1">
                  <a:lumMod val="20000"/>
                  <a:lumOff val="80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BE5CA3F7-AEB6-4995-3F8A-21FCF3CD42B7}"/>
              </a:ext>
            </a:extLst>
          </p:cNvPr>
          <p:cNvSpPr/>
          <p:nvPr/>
        </p:nvSpPr>
        <p:spPr>
          <a:xfrm>
            <a:off x="6248400" y="3918857"/>
            <a:ext cx="3011864" cy="1791093"/>
          </a:xfrm>
          <a:prstGeom prst="roundRect">
            <a:avLst>
              <a:gd name="adj" fmla="val 8628"/>
            </a:avLst>
          </a:prstGeom>
          <a:solidFill>
            <a:schemeClr val="accent2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latin typeface="Rostelecom Basis" panose="020B0503030604040103" pitchFamily="34" charset="0"/>
              </a:rPr>
              <a:t>Текст///</a:t>
            </a:r>
            <a:endParaRPr lang="ru-RU" dirty="0">
              <a:solidFill>
                <a:schemeClr val="tx1">
                  <a:lumMod val="20000"/>
                  <a:lumOff val="80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92313B-E7FF-7BB2-C67A-F40F16BD1E3E}"/>
              </a:ext>
            </a:extLst>
          </p:cNvPr>
          <p:cNvSpPr txBox="1"/>
          <p:nvPr/>
        </p:nvSpPr>
        <p:spPr>
          <a:xfrm>
            <a:off x="2438400" y="914401"/>
            <a:ext cx="7315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Rostelecom Basis Medium" panose="020B0503030604040103" pitchFamily="34" charset="0"/>
              </a:rPr>
              <a:t>Подзаголовок</a:t>
            </a:r>
            <a:endParaRPr lang="en-US" sz="3200" dirty="0">
              <a:solidFill>
                <a:schemeClr val="bg1"/>
              </a:solidFill>
              <a:latin typeface="Rostelecom Basis Medium" panose="020B0503030604040103" pitchFamily="34" charset="0"/>
            </a:endParaRP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C3664D89-DDE5-C9BC-5C9C-D33C15188638}"/>
              </a:ext>
            </a:extLst>
          </p:cNvPr>
          <p:cNvSpPr/>
          <p:nvPr/>
        </p:nvSpPr>
        <p:spPr>
          <a:xfrm>
            <a:off x="2931736" y="1828799"/>
            <a:ext cx="3011864" cy="1791093"/>
          </a:xfrm>
          <a:prstGeom prst="roundRect">
            <a:avLst>
              <a:gd name="adj" fmla="val 8628"/>
            </a:avLst>
          </a:prstGeom>
          <a:solidFill>
            <a:schemeClr val="tx1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latin typeface="Rostelecom Basis" panose="020B0503030604040103" pitchFamily="34" charset="0"/>
              </a:rPr>
              <a:t>Текст///</a:t>
            </a:r>
            <a:endParaRPr lang="ru-RU" dirty="0">
              <a:solidFill>
                <a:schemeClr val="tx1">
                  <a:lumMod val="20000"/>
                  <a:lumOff val="80000"/>
                </a:schemeClr>
              </a:solidFill>
              <a:latin typeface="Rostelecom Basis" panose="020B05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9567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AB9F1D-7C39-8E7C-9F48-B20D2D23D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DF6854F-9D3D-1E2B-B1BF-63337D8F6DD7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08669" cy="6858000"/>
          </a:xfrm>
          <a:prstGeom prst="rect">
            <a:avLst/>
          </a:prstGeom>
          <a:ln>
            <a:noFill/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671012F-03EF-CE7A-2696-3038AE39013E}"/>
              </a:ext>
            </a:extLst>
          </p:cNvPr>
          <p:cNvSpPr txBox="1">
            <a:spLocks/>
          </p:cNvSpPr>
          <p:nvPr/>
        </p:nvSpPr>
        <p:spPr>
          <a:xfrm>
            <a:off x="457200" y="2590800"/>
            <a:ext cx="9220200" cy="87056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  <a:latin typeface="Rostelecom Basis" panose="020B0503030604040103" pitchFamily="34" charset="0"/>
              </a:rPr>
              <a:t>Подзаголовок</a:t>
            </a:r>
            <a:endParaRPr lang="en-RU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CDD2BCAB-7754-F974-181E-B4430492EE65}"/>
              </a:ext>
            </a:extLst>
          </p:cNvPr>
          <p:cNvSpPr txBox="1">
            <a:spLocks noChangeAspect="1"/>
          </p:cNvSpPr>
          <p:nvPr/>
        </p:nvSpPr>
        <p:spPr>
          <a:xfrm>
            <a:off x="533400" y="3505200"/>
            <a:ext cx="4495800" cy="689980"/>
          </a:xfrm>
          <a:prstGeom prst="roundRect">
            <a:avLst>
              <a:gd name="adj" fmla="val 13056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Текст///</a:t>
            </a:r>
            <a:endParaRPr lang="ru-RU" sz="16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0152A-9800-C276-FBF7-AFED5DD9E2AA}"/>
              </a:ext>
            </a:extLst>
          </p:cNvPr>
          <p:cNvSpPr txBox="1">
            <a:spLocks/>
          </p:cNvSpPr>
          <p:nvPr/>
        </p:nvSpPr>
        <p:spPr>
          <a:xfrm>
            <a:off x="533400" y="4343400"/>
            <a:ext cx="1836000" cy="1080000"/>
          </a:xfrm>
          <a:prstGeom prst="roundRect">
            <a:avLst>
              <a:gd name="adj" fmla="val 1388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Текст///</a:t>
            </a:r>
            <a:endParaRPr lang="ru-RU" sz="16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81250E5-6BC1-F588-1212-87C5B3EA27F6}"/>
              </a:ext>
            </a:extLst>
          </p:cNvPr>
          <p:cNvSpPr txBox="1">
            <a:spLocks/>
          </p:cNvSpPr>
          <p:nvPr/>
        </p:nvSpPr>
        <p:spPr>
          <a:xfrm>
            <a:off x="2514600" y="4343400"/>
            <a:ext cx="1836000" cy="1080000"/>
          </a:xfrm>
          <a:prstGeom prst="roundRect">
            <a:avLst>
              <a:gd name="adj" fmla="val 1388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Текст///</a:t>
            </a:r>
            <a:endParaRPr lang="ru-RU" sz="16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9169719-1B63-8EBF-AB9C-7A4466ECEC47}"/>
              </a:ext>
            </a:extLst>
          </p:cNvPr>
          <p:cNvSpPr txBox="1">
            <a:spLocks/>
          </p:cNvSpPr>
          <p:nvPr/>
        </p:nvSpPr>
        <p:spPr>
          <a:xfrm>
            <a:off x="4495800" y="4343400"/>
            <a:ext cx="1836000" cy="1080000"/>
          </a:xfrm>
          <a:prstGeom prst="roundRect">
            <a:avLst>
              <a:gd name="adj" fmla="val 1388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Текст///</a:t>
            </a:r>
            <a:endParaRPr lang="ru-RU" sz="16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A1F83C3-27F2-1538-2A19-F64ACA60A446}"/>
              </a:ext>
            </a:extLst>
          </p:cNvPr>
          <p:cNvSpPr txBox="1">
            <a:spLocks/>
          </p:cNvSpPr>
          <p:nvPr/>
        </p:nvSpPr>
        <p:spPr>
          <a:xfrm>
            <a:off x="6477000" y="4343400"/>
            <a:ext cx="1839600" cy="1080000"/>
          </a:xfrm>
          <a:prstGeom prst="roundRect">
            <a:avLst>
              <a:gd name="adj" fmla="val 1388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Текст///</a:t>
            </a:r>
            <a:endParaRPr lang="ru-RU" sz="16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C0ED494-B3DB-8FDF-E935-D205C0B30E65}"/>
              </a:ext>
            </a:extLst>
          </p:cNvPr>
          <p:cNvSpPr txBox="1">
            <a:spLocks/>
          </p:cNvSpPr>
          <p:nvPr/>
        </p:nvSpPr>
        <p:spPr>
          <a:xfrm>
            <a:off x="8458200" y="4343400"/>
            <a:ext cx="3200400" cy="1066800"/>
          </a:xfrm>
          <a:prstGeom prst="roundRect">
            <a:avLst>
              <a:gd name="adj" fmla="val 1388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Текст///</a:t>
            </a:r>
            <a:endParaRPr lang="ru-RU" sz="16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3562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4311DC-B86C-F4EF-1B34-3D689AF243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70DA9FD-538D-8577-C5B2-66ABBC90E0F9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019B7E98-A970-EC01-8BEC-1B361AE6AC21}"/>
              </a:ext>
            </a:extLst>
          </p:cNvPr>
          <p:cNvSpPr txBox="1">
            <a:spLocks/>
          </p:cNvSpPr>
          <p:nvPr/>
        </p:nvSpPr>
        <p:spPr>
          <a:xfrm>
            <a:off x="457200" y="2133600"/>
            <a:ext cx="9220200" cy="87056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  <a:latin typeface="Rostelecom Basis" panose="020B0503030604040103" pitchFamily="34" charset="0"/>
              </a:rPr>
              <a:t>Подзаголовок</a:t>
            </a:r>
            <a:endParaRPr lang="en-RU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703DAE0-DE0E-744C-C9AA-4287E570A612}"/>
              </a:ext>
            </a:extLst>
          </p:cNvPr>
          <p:cNvSpPr txBox="1">
            <a:spLocks noChangeAspect="1"/>
          </p:cNvSpPr>
          <p:nvPr/>
        </p:nvSpPr>
        <p:spPr>
          <a:xfrm>
            <a:off x="533399" y="2895600"/>
            <a:ext cx="5942014" cy="2209800"/>
          </a:xfrm>
          <a:prstGeom prst="roundRect">
            <a:avLst>
              <a:gd name="adj" fmla="val 5007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t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Текст///</a:t>
            </a:r>
            <a:endParaRPr lang="ru-RU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44DF151-C3DE-A215-78BA-D62108876230}"/>
              </a:ext>
            </a:extLst>
          </p:cNvPr>
          <p:cNvSpPr txBox="1">
            <a:spLocks/>
          </p:cNvSpPr>
          <p:nvPr/>
        </p:nvSpPr>
        <p:spPr>
          <a:xfrm>
            <a:off x="533400" y="5244600"/>
            <a:ext cx="1368000" cy="1080000"/>
          </a:xfrm>
          <a:prstGeom prst="roundRect">
            <a:avLst>
              <a:gd name="adj" fmla="val 1388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/>
              <a:t>Цифры</a:t>
            </a:r>
            <a:endParaRPr lang="ru-RU" sz="20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CE1C9F-8861-D8B1-2D72-205D2FE57457}"/>
              </a:ext>
            </a:extLst>
          </p:cNvPr>
          <p:cNvSpPr txBox="1">
            <a:spLocks/>
          </p:cNvSpPr>
          <p:nvPr/>
        </p:nvSpPr>
        <p:spPr>
          <a:xfrm>
            <a:off x="2058071" y="5244600"/>
            <a:ext cx="1368000" cy="1080000"/>
          </a:xfrm>
          <a:prstGeom prst="roundRect">
            <a:avLst>
              <a:gd name="adj" fmla="val 1388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/>
              <a:t>Цифры</a:t>
            </a:r>
            <a:endParaRPr lang="ru-RU" sz="20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11B9DA-BCE2-F7AB-131F-4898C48D30C0}"/>
              </a:ext>
            </a:extLst>
          </p:cNvPr>
          <p:cNvSpPr txBox="1">
            <a:spLocks/>
          </p:cNvSpPr>
          <p:nvPr/>
        </p:nvSpPr>
        <p:spPr>
          <a:xfrm>
            <a:off x="3582742" y="5244600"/>
            <a:ext cx="1368000" cy="1080000"/>
          </a:xfrm>
          <a:prstGeom prst="roundRect">
            <a:avLst>
              <a:gd name="adj" fmla="val 1388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/>
              <a:t>Цифры</a:t>
            </a:r>
            <a:endParaRPr lang="ru-RU" sz="20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F7C1BCA-9B01-25DF-B5CB-7898581303EF}"/>
              </a:ext>
            </a:extLst>
          </p:cNvPr>
          <p:cNvSpPr txBox="1">
            <a:spLocks/>
          </p:cNvSpPr>
          <p:nvPr/>
        </p:nvSpPr>
        <p:spPr>
          <a:xfrm>
            <a:off x="5107413" y="5244600"/>
            <a:ext cx="1368000" cy="1080000"/>
          </a:xfrm>
          <a:prstGeom prst="roundRect">
            <a:avLst>
              <a:gd name="adj" fmla="val 13882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  <a:latin typeface="Rostelecom Basis" panose="020B05030306040401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/>
              <a:t>Цифры</a:t>
            </a:r>
            <a:endParaRPr lang="ru-RU" sz="2000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0274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C0B222-EC66-1AD4-7017-B9B379AC94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E53A5AAE-75D6-B716-58C4-557D184DA22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66313"/>
          </a:xfrm>
          <a:prstGeom prst="rect">
            <a:avLst/>
          </a:prstGeom>
          <a:ln>
            <a:noFill/>
          </a:ln>
        </p:spPr>
      </p:pic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97E65951-253E-89E7-2F1B-617AB170A168}"/>
              </a:ext>
            </a:extLst>
          </p:cNvPr>
          <p:cNvSpPr/>
          <p:nvPr/>
        </p:nvSpPr>
        <p:spPr>
          <a:xfrm>
            <a:off x="6248400" y="1828799"/>
            <a:ext cx="3011864" cy="1791093"/>
          </a:xfrm>
          <a:prstGeom prst="roundRect">
            <a:avLst>
              <a:gd name="adj" fmla="val 8628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Цифры</a:t>
            </a:r>
            <a:endParaRPr lang="ru-RU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0D2F37B5-1BC6-C2AC-2260-BB042FF01FD1}"/>
              </a:ext>
            </a:extLst>
          </p:cNvPr>
          <p:cNvSpPr/>
          <p:nvPr/>
        </p:nvSpPr>
        <p:spPr>
          <a:xfrm>
            <a:off x="2931736" y="3918857"/>
            <a:ext cx="3011864" cy="1791093"/>
          </a:xfrm>
          <a:prstGeom prst="roundRect">
            <a:avLst>
              <a:gd name="adj" fmla="val 8628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Цифры</a:t>
            </a:r>
            <a:endParaRPr lang="ru-RU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BE5CA3F7-AEB6-4995-3F8A-21FCF3CD42B7}"/>
              </a:ext>
            </a:extLst>
          </p:cNvPr>
          <p:cNvSpPr/>
          <p:nvPr/>
        </p:nvSpPr>
        <p:spPr>
          <a:xfrm>
            <a:off x="6248400" y="3918857"/>
            <a:ext cx="3011864" cy="1791093"/>
          </a:xfrm>
          <a:prstGeom prst="roundRect">
            <a:avLst>
              <a:gd name="adj" fmla="val 8628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Цифры</a:t>
            </a:r>
            <a:endParaRPr lang="ru-RU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92313B-E7FF-7BB2-C67A-F40F16BD1E3E}"/>
              </a:ext>
            </a:extLst>
          </p:cNvPr>
          <p:cNvSpPr txBox="1"/>
          <p:nvPr/>
        </p:nvSpPr>
        <p:spPr>
          <a:xfrm>
            <a:off x="2438400" y="914401"/>
            <a:ext cx="7315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Rostelecom Basis Medium" panose="020B0503030604040103" pitchFamily="34" charset="0"/>
              </a:rPr>
              <a:t>Подзаголовок</a:t>
            </a:r>
            <a:endParaRPr lang="en-US" sz="3200" dirty="0">
              <a:solidFill>
                <a:schemeClr val="bg1"/>
              </a:solidFill>
              <a:latin typeface="Rostelecom Basis Medium" panose="020B0503030604040103" pitchFamily="34" charset="0"/>
            </a:endParaRP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C3664D89-DDE5-C9BC-5C9C-D33C15188638}"/>
              </a:ext>
            </a:extLst>
          </p:cNvPr>
          <p:cNvSpPr/>
          <p:nvPr/>
        </p:nvSpPr>
        <p:spPr>
          <a:xfrm>
            <a:off x="2931736" y="1828799"/>
            <a:ext cx="3011864" cy="1791093"/>
          </a:xfrm>
          <a:prstGeom prst="roundRect">
            <a:avLst>
              <a:gd name="adj" fmla="val 8628"/>
            </a:avLst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Цифры</a:t>
            </a:r>
            <a:endParaRPr lang="ru-RU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845B4734-0884-EBBC-16A4-EA60888F2922}"/>
              </a:ext>
            </a:extLst>
          </p:cNvPr>
          <p:cNvSpPr>
            <a:spLocks noChangeAspect="1"/>
          </p:cNvSpPr>
          <p:nvPr/>
        </p:nvSpPr>
        <p:spPr>
          <a:xfrm>
            <a:off x="3124200" y="2057400"/>
            <a:ext cx="468000" cy="46800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1225ABD9-2CC3-F1F9-B8E6-FD5F0FA4D09A}"/>
              </a:ext>
            </a:extLst>
          </p:cNvPr>
          <p:cNvSpPr>
            <a:spLocks noChangeAspect="1"/>
          </p:cNvSpPr>
          <p:nvPr/>
        </p:nvSpPr>
        <p:spPr>
          <a:xfrm>
            <a:off x="6450677" y="2057400"/>
            <a:ext cx="468000" cy="4680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2349069B-B494-5C0E-45CF-A5A19F114F5D}"/>
              </a:ext>
            </a:extLst>
          </p:cNvPr>
          <p:cNvSpPr>
            <a:spLocks noChangeAspect="1"/>
          </p:cNvSpPr>
          <p:nvPr/>
        </p:nvSpPr>
        <p:spPr>
          <a:xfrm>
            <a:off x="3124200" y="4118956"/>
            <a:ext cx="468000" cy="468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CA977FE8-5FF8-A0C5-CAD9-CF82D58EF5EA}"/>
              </a:ext>
            </a:extLst>
          </p:cNvPr>
          <p:cNvSpPr>
            <a:spLocks noChangeAspect="1"/>
          </p:cNvSpPr>
          <p:nvPr/>
        </p:nvSpPr>
        <p:spPr>
          <a:xfrm>
            <a:off x="6450677" y="4118956"/>
            <a:ext cx="468000" cy="468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</p:spTree>
    <p:extLst>
      <p:ext uri="{BB962C8B-B14F-4D97-AF65-F5344CB8AC3E}">
        <p14:creationId xmlns:p14="http://schemas.microsoft.com/office/powerpoint/2010/main" val="21343091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909BDEE-2E63-3158-6482-0F11D873AB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600" y="5767114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478C73F-DE6C-5FCF-A3D4-9710C3853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6150" y="1670378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2DFF35D-C745-7864-C62B-279FFB72D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3600" y="3035956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A574CD7-4328-9044-3991-2E51B4D7F4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23981" y="304800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5A4160D-D4E3-B077-075A-BC293382B0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8297" y="4401534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6F69AFF-B88A-896E-1252-54E64DBD73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23981" y="5767114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2D8A0721-C22C-3E4B-029E-BD880BD182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3600" y="304800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8632EEF-D358-6004-D965-84EF2A3815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28297" y="3035956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1EFC7B0A-CA25-758B-3A3C-DEBE296CB4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76150" y="3035956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FABE946D-46BC-586E-A97A-82046507353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76150" y="4401534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BD6287A2-B7F2-BFC9-088C-E3CD8C514BC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28297" y="1670378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C99BEAF3-4859-E592-AF82-131A41F86F5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76150" y="304800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E061CA39-6E7F-24F7-487A-55FDAC32659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657" y="4401534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A7671746-FA8C-FF43-C13B-DE8CBC9E66E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657" y="1670378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B9341788-92CA-B71F-D85A-53D871B3B79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2657" y="3035956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C4167124-83DF-D842-47A7-99AE1D6C1DC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223981" y="4401534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230DCE6A-D0D1-AD41-D55E-593F7F44674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271811" y="4401537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17476B24-5743-C385-1647-2A619E86B02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271811" y="304800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87329AE2-ACA0-3290-A9BE-C184D380911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128297" y="304800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F772C70-AB4F-5C52-7600-4355BF331F09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133600" y="1670378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CD4BA956-BAA3-9E41-8F11-63E3562E655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271811" y="1670379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A62C778A-6496-15A4-5638-7C08C91D6B6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271811" y="3035958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98C2A7BB-A832-F282-30DA-5431A278A72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2657" y="304800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F8F58F5A-1A98-9B29-CFD0-FA4928F9029A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133600" y="4401534"/>
            <a:ext cx="1920189" cy="1080000"/>
          </a:xfrm>
          <a:prstGeom prst="rect">
            <a:avLst/>
          </a:prstGeom>
          <a:ln>
            <a:noFill/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02909A1-2D3E-8FE4-AC58-BED6A663A92B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176150" y="5767114"/>
            <a:ext cx="1920190" cy="1080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E2A112E-05E3-34BF-1016-E96FDC078E1C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271811" y="5767114"/>
            <a:ext cx="1920189" cy="10800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337F50E-9FA5-8F1B-F499-BB6C51B299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57" y="5767114"/>
            <a:ext cx="1920189" cy="1080000"/>
          </a:xfrm>
          <a:prstGeom prst="rect">
            <a:avLst/>
          </a:prstGeom>
        </p:spPr>
      </p:pic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5721CA5E-C08F-B6F0-D2F6-A9BF34D9BE67}"/>
              </a:ext>
            </a:extLst>
          </p:cNvPr>
          <p:cNvSpPr>
            <a:spLocks noChangeAspect="1"/>
          </p:cNvSpPr>
          <p:nvPr/>
        </p:nvSpPr>
        <p:spPr>
          <a:xfrm>
            <a:off x="4128297" y="5767114"/>
            <a:ext cx="1920240" cy="1080000"/>
          </a:xfrm>
          <a:prstGeom prst="roundRect">
            <a:avLst>
              <a:gd name="adj" fmla="val 2927"/>
            </a:avLst>
          </a:prstGeom>
          <a:gradFill flip="none" rotWithShape="1">
            <a:gsLst>
              <a:gs pos="22000">
                <a:srgbClr val="402D71"/>
              </a:gs>
              <a:gs pos="0">
                <a:schemeClr val="accent6"/>
              </a:gs>
              <a:gs pos="100000">
                <a:schemeClr val="tx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37E0CC70-E71C-A316-9552-61075BA3E5C8}"/>
              </a:ext>
            </a:extLst>
          </p:cNvPr>
          <p:cNvSpPr/>
          <p:nvPr/>
        </p:nvSpPr>
        <p:spPr>
          <a:xfrm>
            <a:off x="8686800" y="2747168"/>
            <a:ext cx="360000" cy="360000"/>
          </a:xfrm>
          <a:prstGeom prst="ellipse">
            <a:avLst/>
          </a:prstGeom>
          <a:solidFill>
            <a:srgbClr val="9200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4F5AB367-2B3A-6896-56E0-7809FB993CB4}"/>
              </a:ext>
            </a:extLst>
          </p:cNvPr>
          <p:cNvSpPr/>
          <p:nvPr/>
        </p:nvSpPr>
        <p:spPr>
          <a:xfrm>
            <a:off x="8686800" y="3206352"/>
            <a:ext cx="360000" cy="360000"/>
          </a:xfrm>
          <a:prstGeom prst="ellipse">
            <a:avLst/>
          </a:prstGeom>
          <a:solidFill>
            <a:srgbClr val="0C79C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5582C34C-C967-ED3F-4B85-067598D5306E}"/>
              </a:ext>
            </a:extLst>
          </p:cNvPr>
          <p:cNvSpPr/>
          <p:nvPr/>
        </p:nvSpPr>
        <p:spPr>
          <a:xfrm>
            <a:off x="8305800" y="3665537"/>
            <a:ext cx="360000" cy="360000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268E5A9E-668D-F79E-72A9-4AF3E1976AFC}"/>
              </a:ext>
            </a:extLst>
          </p:cNvPr>
          <p:cNvSpPr/>
          <p:nvPr/>
        </p:nvSpPr>
        <p:spPr>
          <a:xfrm>
            <a:off x="8686800" y="3665537"/>
            <a:ext cx="360000" cy="3600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IT"/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69D0C9D2-39B1-2FD9-5B29-52294D8AA227}"/>
              </a:ext>
            </a:extLst>
          </p:cNvPr>
          <p:cNvSpPr/>
          <p:nvPr/>
        </p:nvSpPr>
        <p:spPr>
          <a:xfrm>
            <a:off x="9525000" y="1816896"/>
            <a:ext cx="360000" cy="360000"/>
          </a:xfrm>
          <a:prstGeom prst="ellipse">
            <a:avLst/>
          </a:prstGeom>
          <a:solidFill>
            <a:srgbClr val="7700FF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735AC1A8-D416-E758-A47D-8A943EC3095A}"/>
              </a:ext>
            </a:extLst>
          </p:cNvPr>
          <p:cNvSpPr/>
          <p:nvPr/>
        </p:nvSpPr>
        <p:spPr>
          <a:xfrm>
            <a:off x="9144000" y="1816896"/>
            <a:ext cx="360000" cy="360000"/>
          </a:xfrm>
          <a:prstGeom prst="ellipse">
            <a:avLst/>
          </a:prstGeom>
          <a:solidFill>
            <a:srgbClr val="FF4F12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3A4BA9D2-CADC-3A21-DF67-C187E06CD2CC}"/>
              </a:ext>
            </a:extLst>
          </p:cNvPr>
          <p:cNvSpPr/>
          <p:nvPr/>
        </p:nvSpPr>
        <p:spPr>
          <a:xfrm>
            <a:off x="9525000" y="2276080"/>
            <a:ext cx="360000" cy="360000"/>
          </a:xfrm>
          <a:prstGeom prst="ellipse">
            <a:avLst/>
          </a:prstGeom>
          <a:solidFill>
            <a:srgbClr val="BC104B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629F47D6-611E-91C2-42EC-B9DCF61A30D7}"/>
              </a:ext>
            </a:extLst>
          </p:cNvPr>
          <p:cNvSpPr/>
          <p:nvPr/>
        </p:nvSpPr>
        <p:spPr>
          <a:xfrm>
            <a:off x="9144000" y="2276080"/>
            <a:ext cx="360000" cy="360000"/>
          </a:xfrm>
          <a:prstGeom prst="ellipse">
            <a:avLst/>
          </a:prstGeom>
          <a:solidFill>
            <a:srgbClr val="273A64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E3D38CC6-44E6-D98D-0DC2-7E6274ECA0DD}"/>
              </a:ext>
            </a:extLst>
          </p:cNvPr>
          <p:cNvSpPr/>
          <p:nvPr/>
        </p:nvSpPr>
        <p:spPr>
          <a:xfrm>
            <a:off x="8305800" y="2287984"/>
            <a:ext cx="360000" cy="360000"/>
          </a:xfrm>
          <a:prstGeom prst="ellipse">
            <a:avLst/>
          </a:prstGeom>
          <a:solidFill>
            <a:srgbClr val="FFBE08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553228C8-C9FC-C8C5-09E9-BE0C68F31285}"/>
              </a:ext>
            </a:extLst>
          </p:cNvPr>
          <p:cNvSpPr/>
          <p:nvPr/>
        </p:nvSpPr>
        <p:spPr>
          <a:xfrm>
            <a:off x="9525000" y="2735264"/>
            <a:ext cx="360000" cy="360000"/>
          </a:xfrm>
          <a:prstGeom prst="ellipse">
            <a:avLst/>
          </a:prstGeom>
          <a:solidFill>
            <a:srgbClr val="65B8DF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6" name="Rectangle 6">
            <a:extLst>
              <a:ext uri="{FF2B5EF4-FFF2-40B4-BE49-F238E27FC236}">
                <a16:creationId xmlns:a16="http://schemas.microsoft.com/office/drawing/2014/main" id="{0468A6B7-8C21-4CDA-744C-2C532F9AF665}"/>
              </a:ext>
            </a:extLst>
          </p:cNvPr>
          <p:cNvSpPr/>
          <p:nvPr/>
        </p:nvSpPr>
        <p:spPr>
          <a:xfrm>
            <a:off x="9144000" y="2735264"/>
            <a:ext cx="360000" cy="360000"/>
          </a:xfrm>
          <a:prstGeom prst="ellipse">
            <a:avLst/>
          </a:prstGeom>
          <a:solidFill>
            <a:srgbClr val="FFBFC3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/>
          </a:p>
        </p:txBody>
      </p:sp>
      <p:sp>
        <p:nvSpPr>
          <p:cNvPr id="28" name="Rectangle 6">
            <a:extLst>
              <a:ext uri="{FF2B5EF4-FFF2-40B4-BE49-F238E27FC236}">
                <a16:creationId xmlns:a16="http://schemas.microsoft.com/office/drawing/2014/main" id="{BAB6D212-F1E3-3808-11DD-2623586BAFAA}"/>
              </a:ext>
            </a:extLst>
          </p:cNvPr>
          <p:cNvSpPr/>
          <p:nvPr/>
        </p:nvSpPr>
        <p:spPr>
          <a:xfrm>
            <a:off x="8305800" y="2747168"/>
            <a:ext cx="360000" cy="360000"/>
          </a:xfrm>
          <a:prstGeom prst="ellipse">
            <a:avLst/>
          </a:prstGeom>
          <a:solidFill>
            <a:srgbClr val="57D9B7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30" name="Rectangle 6">
            <a:extLst>
              <a:ext uri="{FF2B5EF4-FFF2-40B4-BE49-F238E27FC236}">
                <a16:creationId xmlns:a16="http://schemas.microsoft.com/office/drawing/2014/main" id="{255C4D41-78A2-80BA-D9CB-0B3C269C0C96}"/>
              </a:ext>
            </a:extLst>
          </p:cNvPr>
          <p:cNvSpPr/>
          <p:nvPr/>
        </p:nvSpPr>
        <p:spPr>
          <a:xfrm>
            <a:off x="9525000" y="3194448"/>
            <a:ext cx="360000" cy="360000"/>
          </a:xfrm>
          <a:prstGeom prst="ellipse">
            <a:avLst/>
          </a:prstGeom>
          <a:solidFill>
            <a:srgbClr val="101828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32" name="Rectangle 7">
            <a:extLst>
              <a:ext uri="{FF2B5EF4-FFF2-40B4-BE49-F238E27FC236}">
                <a16:creationId xmlns:a16="http://schemas.microsoft.com/office/drawing/2014/main" id="{E2DC1AF4-56A6-B5BB-3C24-2080481C7196}"/>
              </a:ext>
            </a:extLst>
          </p:cNvPr>
          <p:cNvSpPr/>
          <p:nvPr/>
        </p:nvSpPr>
        <p:spPr>
          <a:xfrm>
            <a:off x="9144000" y="3194448"/>
            <a:ext cx="360000" cy="360000"/>
          </a:xfrm>
          <a:prstGeom prst="ellipse">
            <a:avLst/>
          </a:prstGeom>
          <a:solidFill>
            <a:srgbClr val="97989A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34" name="Rectangle 6">
            <a:extLst>
              <a:ext uri="{FF2B5EF4-FFF2-40B4-BE49-F238E27FC236}">
                <a16:creationId xmlns:a16="http://schemas.microsoft.com/office/drawing/2014/main" id="{B32F9A97-AE36-AB81-65F8-5AA262786DC6}"/>
              </a:ext>
            </a:extLst>
          </p:cNvPr>
          <p:cNvSpPr/>
          <p:nvPr/>
        </p:nvSpPr>
        <p:spPr>
          <a:xfrm>
            <a:off x="8305800" y="3206352"/>
            <a:ext cx="360000" cy="360000"/>
          </a:xfrm>
          <a:prstGeom prst="ellipse">
            <a:avLst/>
          </a:prstGeom>
          <a:solidFill>
            <a:srgbClr val="E3E9EC"/>
          </a:solidFill>
          <a:ln w="3175" cap="flat" cmpd="sng" algn="ctr">
            <a:solidFill>
              <a:srgbClr val="75939C"/>
            </a:solidFill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6">
            <a:extLst>
              <a:ext uri="{FF2B5EF4-FFF2-40B4-BE49-F238E27FC236}">
                <a16:creationId xmlns:a16="http://schemas.microsoft.com/office/drawing/2014/main" id="{D14803C7-A25D-742B-5E98-DCA805ACB587}"/>
              </a:ext>
            </a:extLst>
          </p:cNvPr>
          <p:cNvSpPr/>
          <p:nvPr/>
        </p:nvSpPr>
        <p:spPr>
          <a:xfrm>
            <a:off x="8686800" y="1828800"/>
            <a:ext cx="360000" cy="360000"/>
          </a:xfrm>
          <a:prstGeom prst="ellipse">
            <a:avLst/>
          </a:prstGeom>
          <a:solidFill>
            <a:srgbClr val="7B939B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38" name="Rectangle 6">
            <a:extLst>
              <a:ext uri="{FF2B5EF4-FFF2-40B4-BE49-F238E27FC236}">
                <a16:creationId xmlns:a16="http://schemas.microsoft.com/office/drawing/2014/main" id="{789C5A2A-8664-597E-6D1C-AE152E780F46}"/>
              </a:ext>
            </a:extLst>
          </p:cNvPr>
          <p:cNvSpPr/>
          <p:nvPr/>
        </p:nvSpPr>
        <p:spPr>
          <a:xfrm>
            <a:off x="8305800" y="1828800"/>
            <a:ext cx="360000" cy="360000"/>
          </a:xfrm>
          <a:prstGeom prst="ellipse">
            <a:avLst/>
          </a:prstGeom>
          <a:solidFill>
            <a:srgbClr val="313A49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CDEEDD75-9246-9C65-92B2-BB40B8083BCB}"/>
              </a:ext>
            </a:extLst>
          </p:cNvPr>
          <p:cNvSpPr/>
          <p:nvPr/>
        </p:nvSpPr>
        <p:spPr>
          <a:xfrm>
            <a:off x="8686800" y="2287984"/>
            <a:ext cx="360000" cy="360000"/>
          </a:xfrm>
          <a:prstGeom prst="ellipse">
            <a:avLst/>
          </a:prstGeom>
          <a:solidFill>
            <a:srgbClr val="431625"/>
          </a:solidFill>
          <a:ln w="25400" cap="flat" cmpd="sng" algn="ctr">
            <a:noFill/>
            <a:prstDash val="solid"/>
          </a:ln>
          <a:effectLst/>
        </p:spPr>
        <p:txBody>
          <a:bodyPr lIns="87179" tIns="43589" rIns="87179" bIns="43589" rtlCol="0" anchor="ctr"/>
          <a:lstStyle/>
          <a:p>
            <a:pPr algn="ctr">
              <a:defRPr/>
            </a:pPr>
            <a:endParaRPr lang="en-GB" sz="8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087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Rostelecom">
      <a:dk1>
        <a:srgbClr val="7700FE"/>
      </a:dk1>
      <a:lt1>
        <a:srgbClr val="FEFFFF"/>
      </a:lt1>
      <a:dk2>
        <a:srgbClr val="FF4F12"/>
      </a:dk2>
      <a:lt2>
        <a:srgbClr val="FEBFC3"/>
      </a:lt2>
      <a:accent1>
        <a:srgbClr val="FEBE05"/>
      </a:accent1>
      <a:accent2>
        <a:srgbClr val="57D8B7"/>
      </a:accent2>
      <a:accent3>
        <a:srgbClr val="64B8DE"/>
      </a:accent3>
      <a:accent4>
        <a:srgbClr val="7B929B"/>
      </a:accent4>
      <a:accent5>
        <a:srgbClr val="BB114A"/>
      </a:accent5>
      <a:accent6>
        <a:srgbClr val="313A49"/>
      </a:accent6>
      <a:hlink>
        <a:srgbClr val="7700FE"/>
      </a:hlink>
      <a:folHlink>
        <a:srgbClr val="FF4F1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28</TotalTime>
  <Words>51</Words>
  <Application>Microsoft Macintosh PowerPoint</Application>
  <PresentationFormat>Широкоэкранный</PresentationFormat>
  <Paragraphs>36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Rostelecom Basis</vt:lpstr>
      <vt:lpstr>Rostelecom Basis Medium</vt:lpstr>
      <vt:lpstr>Trebuchet M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TC_TEX_SOVET_2025_PRES_NEW</dc:title>
  <dc:creator>Дмитрий Казанцев</dc:creator>
  <cp:lastModifiedBy>Елена Летуновская</cp:lastModifiedBy>
  <cp:revision>147</cp:revision>
  <dcterms:created xsi:type="dcterms:W3CDTF">2025-03-07T13:18:01Z</dcterms:created>
  <dcterms:modified xsi:type="dcterms:W3CDTF">2025-11-07T08:4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5-03-07T00:00:00Z</vt:filetime>
  </property>
  <property fmtid="{D5CDD505-2E9C-101B-9397-08002B2CF9AE}" pid="3" name="Creator">
    <vt:lpwstr>Adobe Illustrator 27.2 (Windows)</vt:lpwstr>
  </property>
  <property fmtid="{D5CDD505-2E9C-101B-9397-08002B2CF9AE}" pid="4" name="LastSaved">
    <vt:filetime>2025-03-07T00:00:00Z</vt:filetime>
  </property>
  <property fmtid="{D5CDD505-2E9C-101B-9397-08002B2CF9AE}" pid="5" name="Producer">
    <vt:lpwstr>Adobe PDF library 17.00</vt:lpwstr>
  </property>
</Properties>
</file>